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15" r:id="rId11"/>
    <p:sldId id="2147375602" r:id="rId12"/>
    <p:sldId id="2147375603" r:id="rId13"/>
    <p:sldId id="2147375622" r:id="rId14"/>
    <p:sldId id="2147375626" r:id="rId15"/>
    <p:sldId id="2147375616" r:id="rId16"/>
    <p:sldId id="2147375606" r:id="rId17"/>
    <p:sldId id="2147375607" r:id="rId18"/>
    <p:sldId id="2147375627" r:id="rId19"/>
    <p:sldId id="2147375628" r:id="rId20"/>
    <p:sldId id="2147375629" r:id="rId21"/>
    <p:sldId id="2147375610" r:id="rId22"/>
    <p:sldId id="2147375611" r:id="rId23"/>
    <p:sldId id="2147375612" r:id="rId24"/>
    <p:sldId id="2147375613" r:id="rId25"/>
    <p:sldId id="2147375614" r:id="rId26"/>
    <p:sldId id="1633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649479-8C35-4DD3-A0DA-CD15AC97EF70}" v="6" dt="2024-09-01T14:00:11.3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7" d="100"/>
          <a:sy n="67" d="100"/>
        </p:scale>
        <p:origin x="64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Garg, Khushi SBOBNG-PTIV/IPI" userId="61b8e582-884e-4d1f-9a4e-7100a54c98d7" providerId="ADAL" clId="{BC649479-8C35-4DD3-A0DA-CD15AC97EF70}"/>
    <pc:docChg chg="undo redo custSel addSld modSld">
      <pc:chgData name="Garg, Khushi SBOBNG-PTIV/IPI" userId="61b8e582-884e-4d1f-9a4e-7100a54c98d7" providerId="ADAL" clId="{BC649479-8C35-4DD3-A0DA-CD15AC97EF70}" dt="2024-09-01T14:11:34.909" v="657" actId="20577"/>
      <pc:docMkLst>
        <pc:docMk/>
      </pc:docMkLst>
      <pc:sldChg chg="modSp mod">
        <pc:chgData name="Garg, Khushi SBOBNG-PTIV/IPI" userId="61b8e582-884e-4d1f-9a4e-7100a54c98d7" providerId="ADAL" clId="{BC649479-8C35-4DD3-A0DA-CD15AC97EF70}" dt="2024-08-27T11:34:36.171" v="23" actId="20577"/>
        <pc:sldMkLst>
          <pc:docMk/>
          <pc:sldMk cId="3267775274" sldId="256"/>
        </pc:sldMkLst>
        <pc:spChg chg="mod">
          <ac:chgData name="Garg, Khushi SBOBNG-PTIV/IPI" userId="61b8e582-884e-4d1f-9a4e-7100a54c98d7" providerId="ADAL" clId="{BC649479-8C35-4DD3-A0DA-CD15AC97EF70}" dt="2024-08-27T11:34:36.171" v="23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Garg, Khushi SBOBNG-PTIV/IPI" userId="61b8e582-884e-4d1f-9a4e-7100a54c98d7" providerId="ADAL" clId="{BC649479-8C35-4DD3-A0DA-CD15AC97EF70}" dt="2024-08-27T11:34:30.030" v="20" actId="20577"/>
          <ac:spMkLst>
            <pc:docMk/>
            <pc:sldMk cId="3267775274" sldId="256"/>
            <ac:spMk id="12" creationId="{8A24547F-8A92-CDC5-A578-3733390534F2}"/>
          </ac:spMkLst>
        </pc:spChg>
      </pc:sldChg>
      <pc:sldChg chg="addSp delSp modSp mod">
        <pc:chgData name="Garg, Khushi SBOBNG-PTIV/IPI" userId="61b8e582-884e-4d1f-9a4e-7100a54c98d7" providerId="ADAL" clId="{BC649479-8C35-4DD3-A0DA-CD15AC97EF70}" dt="2024-08-29T18:42:40.071" v="123" actId="20577"/>
        <pc:sldMkLst>
          <pc:docMk/>
          <pc:sldMk cId="867832184" sldId="2147375589"/>
        </pc:sldMkLst>
        <pc:spChg chg="mod">
          <ac:chgData name="Garg, Khushi SBOBNG-PTIV/IPI" userId="61b8e582-884e-4d1f-9a4e-7100a54c98d7" providerId="ADAL" clId="{BC649479-8C35-4DD3-A0DA-CD15AC97EF70}" dt="2024-08-29T18:42:40.071" v="123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Garg, Khushi SBOBNG-PTIV/IPI" userId="61b8e582-884e-4d1f-9a4e-7100a54c98d7" providerId="ADAL" clId="{BC649479-8C35-4DD3-A0DA-CD15AC97EF70}" dt="2024-08-27T11:36:23.703" v="43" actId="20577"/>
          <ac:spMkLst>
            <pc:docMk/>
            <pc:sldMk cId="867832184" sldId="2147375589"/>
            <ac:spMk id="11" creationId="{CE0DDF5F-FE47-F9A2-FE84-53B63DFF494D}"/>
          </ac:spMkLst>
        </pc:spChg>
        <pc:picChg chg="add del mod">
          <ac:chgData name="Garg, Khushi SBOBNG-PTIV/IPI" userId="61b8e582-884e-4d1f-9a4e-7100a54c98d7" providerId="ADAL" clId="{BC649479-8C35-4DD3-A0DA-CD15AC97EF70}" dt="2024-08-29T18:33:11.888" v="52" actId="478"/>
          <ac:picMkLst>
            <pc:docMk/>
            <pc:sldMk cId="867832184" sldId="2147375589"/>
            <ac:picMk id="6" creationId="{AEF3BBA8-2DC4-344C-F2CE-C5E57E4B5D5C}"/>
          </ac:picMkLst>
        </pc:picChg>
        <pc:picChg chg="add mod">
          <ac:chgData name="Garg, Khushi SBOBNG-PTIV/IPI" userId="61b8e582-884e-4d1f-9a4e-7100a54c98d7" providerId="ADAL" clId="{BC649479-8C35-4DD3-A0DA-CD15AC97EF70}" dt="2024-08-29T18:34:31.968" v="60" actId="962"/>
          <ac:picMkLst>
            <pc:docMk/>
            <pc:sldMk cId="867832184" sldId="2147375589"/>
            <ac:picMk id="7" creationId="{16F2E17D-08F5-CD02-4659-F7307E6623B8}"/>
          </ac:picMkLst>
        </pc:picChg>
      </pc:sldChg>
      <pc:sldChg chg="addSp modSp mod">
        <pc:chgData name="Garg, Khushi SBOBNG-PTIV/IPI" userId="61b8e582-884e-4d1f-9a4e-7100a54c98d7" providerId="ADAL" clId="{BC649479-8C35-4DD3-A0DA-CD15AC97EF70}" dt="2024-08-29T18:47:39.493" v="309" actId="1076"/>
        <pc:sldMkLst>
          <pc:docMk/>
          <pc:sldMk cId="245881457" sldId="2147375597"/>
        </pc:sldMkLst>
        <pc:spChg chg="add mod">
          <ac:chgData name="Garg, Khushi SBOBNG-PTIV/IPI" userId="61b8e582-884e-4d1f-9a4e-7100a54c98d7" providerId="ADAL" clId="{BC649479-8C35-4DD3-A0DA-CD15AC97EF70}" dt="2024-08-29T18:47:23.254" v="303" actId="14100"/>
          <ac:spMkLst>
            <pc:docMk/>
            <pc:sldMk cId="245881457" sldId="2147375597"/>
            <ac:spMk id="6" creationId="{5008A4BC-F100-C725-E512-0BA1576895EF}"/>
          </ac:spMkLst>
        </pc:spChg>
        <pc:spChg chg="mod">
          <ac:chgData name="Garg, Khushi SBOBNG-PTIV/IPI" userId="61b8e582-884e-4d1f-9a4e-7100a54c98d7" providerId="ADAL" clId="{BC649479-8C35-4DD3-A0DA-CD15AC97EF70}" dt="2024-08-29T18:46:45.682" v="301" actId="20577"/>
          <ac:spMkLst>
            <pc:docMk/>
            <pc:sldMk cId="245881457" sldId="2147375597"/>
            <ac:spMk id="11" creationId="{DE9F1BE0-7910-FA1B-DCE8-56EFD1E4FC09}"/>
          </ac:spMkLst>
        </pc:spChg>
        <pc:spChg chg="mod">
          <ac:chgData name="Garg, Khushi SBOBNG-PTIV/IPI" userId="61b8e582-884e-4d1f-9a4e-7100a54c98d7" providerId="ADAL" clId="{BC649479-8C35-4DD3-A0DA-CD15AC97EF70}" dt="2024-08-29T18:47:27.304" v="306" actId="20577"/>
          <ac:spMkLst>
            <pc:docMk/>
            <pc:sldMk cId="245881457" sldId="2147375597"/>
            <ac:spMk id="12" creationId="{E53E5C3F-4D2B-B85F-E592-E58E032C664C}"/>
          </ac:spMkLst>
        </pc:spChg>
        <pc:picChg chg="add mod">
          <ac:chgData name="Garg, Khushi SBOBNG-PTIV/IPI" userId="61b8e582-884e-4d1f-9a4e-7100a54c98d7" providerId="ADAL" clId="{BC649479-8C35-4DD3-A0DA-CD15AC97EF70}" dt="2024-08-29T18:47:39.493" v="309" actId="1076"/>
          <ac:picMkLst>
            <pc:docMk/>
            <pc:sldMk cId="245881457" sldId="2147375597"/>
            <ac:picMk id="5" creationId="{B88C7D08-CED4-8219-099B-2CB3F6B167F6}"/>
          </ac:picMkLst>
        </pc:picChg>
      </pc:sldChg>
      <pc:sldChg chg="addSp delSp modSp mod">
        <pc:chgData name="Garg, Khushi SBOBNG-PTIV/IPI" userId="61b8e582-884e-4d1f-9a4e-7100a54c98d7" providerId="ADAL" clId="{BC649479-8C35-4DD3-A0DA-CD15AC97EF70}" dt="2024-08-29T18:52:04.887" v="347" actId="20577"/>
        <pc:sldMkLst>
          <pc:docMk/>
          <pc:sldMk cId="1181112711" sldId="2147375600"/>
        </pc:sldMkLst>
        <pc:spChg chg="add del mod">
          <ac:chgData name="Garg, Khushi SBOBNG-PTIV/IPI" userId="61b8e582-884e-4d1f-9a4e-7100a54c98d7" providerId="ADAL" clId="{BC649479-8C35-4DD3-A0DA-CD15AC97EF70}" dt="2024-08-29T18:49:33.894" v="323"/>
          <ac:spMkLst>
            <pc:docMk/>
            <pc:sldMk cId="1181112711" sldId="2147375600"/>
            <ac:spMk id="6" creationId="{879E5AC9-02C0-3D1A-ECEC-A63BA1C27A67}"/>
          </ac:spMkLst>
        </pc:spChg>
        <pc:spChg chg="mod">
          <ac:chgData name="Garg, Khushi SBOBNG-PTIV/IPI" userId="61b8e582-884e-4d1f-9a4e-7100a54c98d7" providerId="ADAL" clId="{BC649479-8C35-4DD3-A0DA-CD15AC97EF70}" dt="2024-08-29T18:52:04.887" v="347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Garg, Khushi SBOBNG-PTIV/IPI" userId="61b8e582-884e-4d1f-9a4e-7100a54c98d7" providerId="ADAL" clId="{BC649479-8C35-4DD3-A0DA-CD15AC97EF70}" dt="2024-08-29T18:48:27.126" v="314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Garg, Khushi SBOBNG-PTIV/IPI" userId="61b8e582-884e-4d1f-9a4e-7100a54c98d7" providerId="ADAL" clId="{BC649479-8C35-4DD3-A0DA-CD15AC97EF70}" dt="2024-08-29T18:49:41.330" v="325" actId="1076"/>
          <ac:picMkLst>
            <pc:docMk/>
            <pc:sldMk cId="1181112711" sldId="2147375600"/>
            <ac:picMk id="5" creationId="{6EF55A65-596C-FE25-8C78-2D4F8F6DB2EA}"/>
          </ac:picMkLst>
        </pc:picChg>
      </pc:sldChg>
      <pc:sldChg chg="addSp delSp modSp mod">
        <pc:chgData name="Garg, Khushi SBOBNG-PTIV/IPI" userId="61b8e582-884e-4d1f-9a4e-7100a54c98d7" providerId="ADAL" clId="{BC649479-8C35-4DD3-A0DA-CD15AC97EF70}" dt="2024-08-29T18:57:48.631" v="524" actId="113"/>
        <pc:sldMkLst>
          <pc:docMk/>
          <pc:sldMk cId="3233747587" sldId="2147375601"/>
        </pc:sldMkLst>
        <pc:spChg chg="add del mod">
          <ac:chgData name="Garg, Khushi SBOBNG-PTIV/IPI" userId="61b8e582-884e-4d1f-9a4e-7100a54c98d7" providerId="ADAL" clId="{BC649479-8C35-4DD3-A0DA-CD15AC97EF70}" dt="2024-08-29T18:53:28.092" v="361"/>
          <ac:spMkLst>
            <pc:docMk/>
            <pc:sldMk cId="3233747587" sldId="2147375601"/>
            <ac:spMk id="6" creationId="{3FD420C3-FAC3-617D-99E8-6FBA5D96AC68}"/>
          </ac:spMkLst>
        </pc:spChg>
        <pc:spChg chg="mod">
          <ac:chgData name="Garg, Khushi SBOBNG-PTIV/IPI" userId="61b8e582-884e-4d1f-9a4e-7100a54c98d7" providerId="ADAL" clId="{BC649479-8C35-4DD3-A0DA-CD15AC97EF70}" dt="2024-08-29T18:57:48.631" v="524" actId="113"/>
          <ac:spMkLst>
            <pc:docMk/>
            <pc:sldMk cId="3233747587" sldId="2147375601"/>
            <ac:spMk id="11" creationId="{DE9F1BE0-7910-FA1B-DCE8-56EFD1E4FC09}"/>
          </ac:spMkLst>
        </pc:spChg>
        <pc:spChg chg="mod">
          <ac:chgData name="Garg, Khushi SBOBNG-PTIV/IPI" userId="61b8e582-884e-4d1f-9a4e-7100a54c98d7" providerId="ADAL" clId="{BC649479-8C35-4DD3-A0DA-CD15AC97EF70}" dt="2024-08-29T18:52:24.336" v="349" actId="20577"/>
          <ac:spMkLst>
            <pc:docMk/>
            <pc:sldMk cId="3233747587" sldId="2147375601"/>
            <ac:spMk id="12" creationId="{E53E5C3F-4D2B-B85F-E592-E58E032C664C}"/>
          </ac:spMkLst>
        </pc:spChg>
        <pc:picChg chg="add mod">
          <ac:chgData name="Garg, Khushi SBOBNG-PTIV/IPI" userId="61b8e582-884e-4d1f-9a4e-7100a54c98d7" providerId="ADAL" clId="{BC649479-8C35-4DD3-A0DA-CD15AC97EF70}" dt="2024-08-29T18:53:35.643" v="363" actId="1076"/>
          <ac:picMkLst>
            <pc:docMk/>
            <pc:sldMk cId="3233747587" sldId="2147375601"/>
            <ac:picMk id="5" creationId="{72828DCA-F054-F7FA-1C3F-AFA0753065A9}"/>
          </ac:picMkLst>
        </pc:picChg>
      </pc:sldChg>
      <pc:sldChg chg="modSp mod">
        <pc:chgData name="Garg, Khushi SBOBNG-PTIV/IPI" userId="61b8e582-884e-4d1f-9a4e-7100a54c98d7" providerId="ADAL" clId="{BC649479-8C35-4DD3-A0DA-CD15AC97EF70}" dt="2024-09-01T14:11:34.909" v="657" actId="20577"/>
        <pc:sldMkLst>
          <pc:docMk/>
          <pc:sldMk cId="3971512377" sldId="2147375603"/>
        </pc:sldMkLst>
        <pc:spChg chg="mod">
          <ac:chgData name="Garg, Khushi SBOBNG-PTIV/IPI" userId="61b8e582-884e-4d1f-9a4e-7100a54c98d7" providerId="ADAL" clId="{BC649479-8C35-4DD3-A0DA-CD15AC97EF70}" dt="2024-09-01T14:11:34.909" v="657" actId="20577"/>
          <ac:spMkLst>
            <pc:docMk/>
            <pc:sldMk cId="3971512377" sldId="2147375603"/>
            <ac:spMk id="11" creationId="{DE9F1BE0-7910-FA1B-DCE8-56EFD1E4FC09}"/>
          </ac:spMkLst>
        </pc:spChg>
      </pc:sldChg>
      <pc:sldChg chg="addSp delSp modSp add mod">
        <pc:chgData name="Garg, Khushi SBOBNG-PTIV/IPI" userId="61b8e582-884e-4d1f-9a4e-7100a54c98d7" providerId="ADAL" clId="{BC649479-8C35-4DD3-A0DA-CD15AC97EF70}" dt="2024-09-01T14:00:30.934" v="541"/>
        <pc:sldMkLst>
          <pc:docMk/>
          <pc:sldMk cId="1733417607" sldId="2147375615"/>
        </pc:sldMkLst>
        <pc:spChg chg="mod">
          <ac:chgData name="Garg, Khushi SBOBNG-PTIV/IPI" userId="61b8e582-884e-4d1f-9a4e-7100a54c98d7" providerId="ADAL" clId="{BC649479-8C35-4DD3-A0DA-CD15AC97EF70}" dt="2024-09-01T13:59:31.359" v="531" actId="20577"/>
          <ac:spMkLst>
            <pc:docMk/>
            <pc:sldMk cId="1733417607" sldId="2147375615"/>
            <ac:spMk id="3" creationId="{CEA128C4-A0BC-A895-713C-306E7FF62894}"/>
          </ac:spMkLst>
        </pc:spChg>
        <pc:spChg chg="add del mod">
          <ac:chgData name="Garg, Khushi SBOBNG-PTIV/IPI" userId="61b8e582-884e-4d1f-9a4e-7100a54c98d7" providerId="ADAL" clId="{BC649479-8C35-4DD3-A0DA-CD15AC97EF70}" dt="2024-09-01T14:00:30.934" v="541"/>
          <ac:spMkLst>
            <pc:docMk/>
            <pc:sldMk cId="1733417607" sldId="2147375615"/>
            <ac:spMk id="8" creationId="{5E1402FB-D01E-86D8-EF4B-4AB479757D87}"/>
          </ac:spMkLst>
        </pc:spChg>
        <pc:spChg chg="mod">
          <ac:chgData name="Garg, Khushi SBOBNG-PTIV/IPI" userId="61b8e582-884e-4d1f-9a4e-7100a54c98d7" providerId="ADAL" clId="{BC649479-8C35-4DD3-A0DA-CD15AC97EF70}" dt="2024-09-01T13:59:26.670" v="529" actId="12"/>
          <ac:spMkLst>
            <pc:docMk/>
            <pc:sldMk cId="1733417607" sldId="2147375615"/>
            <ac:spMk id="11" creationId="{DE9F1BE0-7910-FA1B-DCE8-56EFD1E4FC09}"/>
          </ac:spMkLst>
        </pc:spChg>
        <pc:spChg chg="mod">
          <ac:chgData name="Garg, Khushi SBOBNG-PTIV/IPI" userId="61b8e582-884e-4d1f-9a4e-7100a54c98d7" providerId="ADAL" clId="{BC649479-8C35-4DD3-A0DA-CD15AC97EF70}" dt="2024-09-01T14:00:18.206" v="537" actId="962"/>
          <ac:spMkLst>
            <pc:docMk/>
            <pc:sldMk cId="1733417607" sldId="2147375615"/>
            <ac:spMk id="12" creationId="{E53E5C3F-4D2B-B85F-E592-E58E032C664C}"/>
          </ac:spMkLst>
        </pc:spChg>
        <pc:picChg chg="del">
          <ac:chgData name="Garg, Khushi SBOBNG-PTIV/IPI" userId="61b8e582-884e-4d1f-9a4e-7100a54c98d7" providerId="ADAL" clId="{BC649479-8C35-4DD3-A0DA-CD15AC97EF70}" dt="2024-09-01T13:59:34.553" v="532" actId="478"/>
          <ac:picMkLst>
            <pc:docMk/>
            <pc:sldMk cId="1733417607" sldId="2147375615"/>
            <ac:picMk id="5" creationId="{72828DCA-F054-F7FA-1C3F-AFA0753065A9}"/>
          </ac:picMkLst>
        </pc:picChg>
        <pc:picChg chg="add mod">
          <ac:chgData name="Garg, Khushi SBOBNG-PTIV/IPI" userId="61b8e582-884e-4d1f-9a4e-7100a54c98d7" providerId="ADAL" clId="{BC649479-8C35-4DD3-A0DA-CD15AC97EF70}" dt="2024-09-01T14:00:29.908" v="539" actId="1076"/>
          <ac:picMkLst>
            <pc:docMk/>
            <pc:sldMk cId="1733417607" sldId="2147375615"/>
            <ac:picMk id="6" creationId="{00486321-3A45-1A27-B9D4-86B9AAB721B6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pxhere.com/en/photo/1568213" TargetMode="External"/><Relationship Id="rId3" Type="http://schemas.openxmlformats.org/officeDocument/2006/relationships/oleObject" Target="../embeddings/oleObject11.bin"/><Relationship Id="rId7" Type="http://schemas.openxmlformats.org/officeDocument/2006/relationships/image" Target="../media/image3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pxhere.com/en/photo/1568213" TargetMode="External"/><Relationship Id="rId3" Type="http://schemas.openxmlformats.org/officeDocument/2006/relationships/oleObject" Target="../embeddings/oleObject12.bin"/><Relationship Id="rId7" Type="http://schemas.openxmlformats.org/officeDocument/2006/relationships/image" Target="../media/image3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pxhere.com/en/photo/1568213" TargetMode="External"/><Relationship Id="rId3" Type="http://schemas.openxmlformats.org/officeDocument/2006/relationships/oleObject" Target="../embeddings/oleObject13.bin"/><Relationship Id="rId7" Type="http://schemas.openxmlformats.org/officeDocument/2006/relationships/image" Target="../media/image3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pxhere.com/en/photo/1568213" TargetMode="External"/><Relationship Id="rId3" Type="http://schemas.openxmlformats.org/officeDocument/2006/relationships/oleObject" Target="../embeddings/oleObject14.bin"/><Relationship Id="rId7" Type="http://schemas.openxmlformats.org/officeDocument/2006/relationships/image" Target="../media/image3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hyperlink" Target="https://techcrunch.com/2019/06/10/vectra-lands-100m-series-e-investment-for-ai-driven-network-security/network-security-2/" TargetMode="Externa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maken.wikiwijs.nl/164112/Word_Office_365_L_L_Deel_3" TargetMode="External"/><Relationship Id="rId3" Type="http://schemas.openxmlformats.org/officeDocument/2006/relationships/oleObject" Target="../embeddings/oleObject16.bin"/><Relationship Id="rId7" Type="http://schemas.openxmlformats.org/officeDocument/2006/relationships/image" Target="../media/image39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id.wikipedia.org/wiki/SDLC" TargetMode="External"/><Relationship Id="rId3" Type="http://schemas.openxmlformats.org/officeDocument/2006/relationships/oleObject" Target="../embeddings/oleObject3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Relationship Id="rId9" Type="http://schemas.openxmlformats.org/officeDocument/2006/relationships/hyperlink" Target="https://creativecommons.org/licenses/by-sa/3.0/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nicoletcollege.pressbooks.pub/operationalmanagement/chapter/4-4-project-management-tools/" TargetMode="External"/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itwiki.kr/w/SCRUM" TargetMode="External"/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scienceforwork.com/blog/teamwork-training/" TargetMode="External"/><Relationship Id="rId3" Type="http://schemas.openxmlformats.org/officeDocument/2006/relationships/oleObject" Target="../embeddings/oleObject6.bin"/><Relationship Id="rId7" Type="http://schemas.openxmlformats.org/officeDocument/2006/relationships/image" Target="../media/image2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Khushi Gar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 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:</a:t>
            </a:r>
            <a:endParaRPr lang="en-US" sz="2000" dirty="0"/>
          </a:p>
          <a:p>
            <a:r>
              <a:rPr lang="en-US" sz="2000" dirty="0">
                <a:cs typeface="Arial"/>
              </a:rPr>
              <a:t>Agile Training </a:t>
            </a:r>
          </a:p>
          <a:p>
            <a:r>
              <a:rPr lang="en-US" sz="2000" dirty="0">
                <a:cs typeface="Arial"/>
              </a:rPr>
              <a:t>Business analysis tools</a:t>
            </a:r>
          </a:p>
          <a:p>
            <a:r>
              <a:rPr lang="en-US" sz="2000" dirty="0">
                <a:cs typeface="Arial"/>
              </a:rPr>
              <a:t>Pilot Agile Project</a:t>
            </a:r>
          </a:p>
          <a:p>
            <a:r>
              <a:rPr lang="en-US" sz="2000" dirty="0">
                <a:cs typeface="Arial"/>
              </a:rPr>
              <a:t>Continuous Feedback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r>
              <a:rPr lang="en-US" sz="2000" dirty="0"/>
              <a:t>Faster Time-To-market</a:t>
            </a:r>
            <a:endParaRPr lang="en-US" sz="2000" dirty="0">
              <a:cs typeface="Arial"/>
            </a:endParaRPr>
          </a:p>
          <a:p>
            <a:r>
              <a:rPr lang="en-US" sz="2000" dirty="0"/>
              <a:t>Enhanced Flexibility</a:t>
            </a:r>
            <a:endParaRPr lang="en-US" sz="2000" dirty="0">
              <a:cs typeface="Arial"/>
            </a:endParaRPr>
          </a:p>
          <a:p>
            <a:r>
              <a:rPr lang="en-US" sz="2000" dirty="0"/>
              <a:t>Data-Driven Decision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2B8EE481-BD11-B6E9-567C-AB4C8A891A0D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BF1F122F-3BAE-AED3-4738-3F6419E1F9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8458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 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:</a:t>
            </a:r>
            <a:endParaRPr lang="en-US" sz="2000" dirty="0"/>
          </a:p>
          <a:p>
            <a:r>
              <a:rPr lang="en-US" sz="2000" dirty="0">
                <a:cs typeface="Arial"/>
              </a:rPr>
              <a:t>Cross-Functional Teams</a:t>
            </a:r>
          </a:p>
          <a:p>
            <a:r>
              <a:rPr lang="en-US" sz="2000" dirty="0">
                <a:cs typeface="Arial"/>
              </a:rPr>
              <a:t>Daily Stand-Ups</a:t>
            </a:r>
          </a:p>
          <a:p>
            <a:r>
              <a:rPr lang="en-US" sz="2000" dirty="0">
                <a:cs typeface="Arial"/>
              </a:rPr>
              <a:t>Sprint Reviews and Retrospectives</a:t>
            </a:r>
          </a:p>
          <a:p>
            <a:r>
              <a:rPr lang="en-US" sz="2000" dirty="0">
                <a:cs typeface="Arial"/>
              </a:rPr>
              <a:t>WIP Limits</a:t>
            </a:r>
            <a:endParaRPr lang="en-US" sz="2000" dirty="0"/>
          </a:p>
          <a:p>
            <a:r>
              <a:rPr lang="en-US" sz="2000" dirty="0">
                <a:cs typeface="Arial"/>
              </a:rPr>
              <a:t>Relative Estimation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r>
              <a:rPr lang="en-US" sz="2000" dirty="0"/>
              <a:t>Improved Efficiency</a:t>
            </a:r>
            <a:endParaRPr lang="en-US" sz="2000" dirty="0">
              <a:cs typeface="Arial"/>
            </a:endParaRPr>
          </a:p>
          <a:p>
            <a:r>
              <a:rPr lang="en-US" sz="2000" dirty="0"/>
              <a:t>Enhanced Flexibility</a:t>
            </a:r>
            <a:endParaRPr lang="en-US" sz="2000" dirty="0">
              <a:cs typeface="Arial"/>
            </a:endParaRPr>
          </a:p>
          <a:p>
            <a:r>
              <a:rPr lang="en-US" sz="2000" dirty="0"/>
              <a:t>Increased Transparency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CF12F9C-2858-76CB-6E83-E571F7F89CE2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2899C533-B34E-8D55-A13B-446FD2569A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481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How I feel Shell implements this learning:</a:t>
            </a:r>
            <a:endParaRPr lang="en-US" sz="2000" dirty="0"/>
          </a:p>
          <a:p>
            <a:r>
              <a:rPr lang="en-US" sz="2000" dirty="0">
                <a:cs typeface="Arial"/>
              </a:rPr>
              <a:t>Team building Activities</a:t>
            </a:r>
          </a:p>
          <a:p>
            <a:r>
              <a:rPr lang="en-US" sz="2000" dirty="0">
                <a:cs typeface="Arial"/>
              </a:rPr>
              <a:t>Cross-Functional Team</a:t>
            </a:r>
          </a:p>
          <a:p>
            <a:r>
              <a:rPr lang="en-US" sz="2000" dirty="0">
                <a:cs typeface="Arial"/>
              </a:rPr>
              <a:t>Clear Roles and Responsibilities</a:t>
            </a:r>
          </a:p>
          <a:p>
            <a:r>
              <a:rPr lang="en-US" sz="2000" dirty="0">
                <a:cs typeface="Arial"/>
              </a:rPr>
              <a:t>Recognition and Reward</a:t>
            </a:r>
          </a:p>
          <a:p>
            <a:pPr marL="0" indent="0">
              <a:buNone/>
            </a:pPr>
            <a:r>
              <a:rPr lang="en-US" sz="2000" b="1" dirty="0"/>
              <a:t>How I feel Shell benefits from this learning:</a:t>
            </a:r>
            <a:r>
              <a:rPr lang="en-US" sz="2000" dirty="0"/>
              <a:t> </a:t>
            </a:r>
            <a:endParaRPr lang="en-US" sz="2000" dirty="0">
              <a:cs typeface="Arial"/>
            </a:endParaRPr>
          </a:p>
          <a:p>
            <a:r>
              <a:rPr lang="en-US" sz="2000" dirty="0"/>
              <a:t>Increased Innovation</a:t>
            </a:r>
            <a:endParaRPr lang="en-US" sz="2000" dirty="0">
              <a:cs typeface="Arial"/>
            </a:endParaRPr>
          </a:p>
          <a:p>
            <a:r>
              <a:rPr lang="en-US" sz="2000" dirty="0"/>
              <a:t>Higher Productivity</a:t>
            </a:r>
            <a:endParaRPr lang="en-US" sz="2000" dirty="0">
              <a:cs typeface="Arial"/>
            </a:endParaRPr>
          </a:p>
          <a:p>
            <a:r>
              <a:rPr lang="en-US" sz="2000" dirty="0"/>
              <a:t>Employee Engagement</a:t>
            </a:r>
            <a:endParaRPr lang="en-US" sz="2000" dirty="0">
              <a:cs typeface="Arial"/>
            </a:endParaRP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442387D-EA05-C4A7-888D-AAEE72E48DCA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9" name="Picture 8" descr="Shell Logo, Shell Symbol, Meaning, History and Evolution">
            <a:extLst>
              <a:ext uri="{FF2B5EF4-FFF2-40B4-BE49-F238E27FC236}">
                <a16:creationId xmlns:a16="http://schemas.microsoft.com/office/drawing/2014/main" id="{3972E15D-981C-03E1-8DD0-3FE37B69AA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8086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r>
              <a:rPr lang="en-US" sz="2000" b="1" dirty="0">
                <a:ea typeface="+mn-lt"/>
                <a:cs typeface="+mn-lt"/>
              </a:rPr>
              <a:t>Challenge faced while implementing</a:t>
            </a:r>
            <a:r>
              <a:rPr lang="en-US" sz="2000" b="1" dirty="0"/>
              <a:t>:</a:t>
            </a:r>
          </a:p>
          <a:p>
            <a:pPr marL="457200" lvl="1" indent="0">
              <a:buNone/>
            </a:pPr>
            <a:endParaRPr lang="en-US" sz="2000" dirty="0">
              <a:cs typeface="Arial"/>
            </a:endParaRPr>
          </a:p>
          <a:p>
            <a:pPr lvl="1"/>
            <a:r>
              <a:rPr lang="en-US" sz="2000" dirty="0"/>
              <a:t>Cultural Resistance</a:t>
            </a:r>
            <a:endParaRPr lang="en-US" sz="2000" dirty="0">
              <a:cs typeface="Arial"/>
            </a:endParaRPr>
          </a:p>
          <a:p>
            <a:pPr lvl="1"/>
            <a:r>
              <a:rPr lang="en-US" sz="2000" dirty="0">
                <a:cs typeface="Arial"/>
              </a:rPr>
              <a:t>Consistency across Regions</a:t>
            </a:r>
            <a:endParaRPr lang="en-US" sz="2000" dirty="0"/>
          </a:p>
          <a:p>
            <a:pPr lvl="1"/>
            <a:r>
              <a:rPr lang="en-US" sz="2000" dirty="0"/>
              <a:t>Measurement and Accountability</a:t>
            </a:r>
            <a:endParaRPr lang="en-US" sz="2000" dirty="0">
              <a:cs typeface="Arial"/>
            </a:endParaRPr>
          </a:p>
          <a:p>
            <a:pPr lvl="1"/>
            <a:r>
              <a:rPr lang="en-US" sz="2000" dirty="0"/>
              <a:t>Time Constraints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B66F94B-DFB1-D347-BC40-2D5D54DFCD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456777" y="2279863"/>
            <a:ext cx="5238750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r>
              <a:rPr lang="en-US" sz="2000" b="1" dirty="0"/>
              <a:t>Challenge faced while implementing:</a:t>
            </a:r>
          </a:p>
          <a:p>
            <a:pPr marL="457200" lvl="1" indent="0">
              <a:buNone/>
            </a:pPr>
            <a:endParaRPr lang="en-US" sz="2000" dirty="0"/>
          </a:p>
          <a:p>
            <a:pPr lvl="1"/>
            <a:r>
              <a:rPr lang="en-US" sz="2000" dirty="0"/>
              <a:t>Adoption of agile suddenly</a:t>
            </a:r>
            <a:endParaRPr lang="en-US" sz="2000" dirty="0">
              <a:cs typeface="Arial"/>
            </a:endParaRPr>
          </a:p>
          <a:p>
            <a:pPr lvl="1"/>
            <a:r>
              <a:rPr lang="en-US" sz="2000" dirty="0">
                <a:cs typeface="Arial"/>
              </a:rPr>
              <a:t>Training and Expertise</a:t>
            </a:r>
          </a:p>
          <a:p>
            <a:pPr lvl="1"/>
            <a:r>
              <a:rPr lang="en-US" sz="2000" dirty="0">
                <a:cs typeface="Arial"/>
              </a:rPr>
              <a:t>Integration with my existing knowledge</a:t>
            </a:r>
          </a:p>
          <a:p>
            <a:pPr lvl="1"/>
            <a:r>
              <a:rPr lang="en-US" sz="2000" dirty="0">
                <a:cs typeface="Arial"/>
              </a:rPr>
              <a:t>Continuous adaption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B66F94B-DFB1-D347-BC40-2D5D54DFCD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456777" y="2279863"/>
            <a:ext cx="5238750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980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r>
              <a:rPr lang="en-US" sz="2000" b="1" dirty="0"/>
              <a:t>Challenge faced while implementing:</a:t>
            </a:r>
          </a:p>
          <a:p>
            <a:pPr marL="457200" lvl="1" indent="0">
              <a:buNone/>
            </a:pPr>
            <a:endParaRPr lang="en-US" sz="2000" dirty="0"/>
          </a:p>
          <a:p>
            <a:pPr lvl="1"/>
            <a:r>
              <a:rPr lang="en-US" sz="2000" dirty="0"/>
              <a:t>Consistency in Story pointing</a:t>
            </a:r>
            <a:endParaRPr lang="en-US" sz="2000" dirty="0">
              <a:cs typeface="Arial"/>
            </a:endParaRPr>
          </a:p>
          <a:p>
            <a:pPr lvl="1"/>
            <a:r>
              <a:rPr lang="en-US" sz="2000" dirty="0">
                <a:cs typeface="Arial"/>
              </a:rPr>
              <a:t>Implementation Delays</a:t>
            </a:r>
          </a:p>
          <a:p>
            <a:pPr lvl="1"/>
            <a:r>
              <a:rPr lang="en-US" sz="2000" dirty="0">
                <a:cs typeface="Arial"/>
              </a:rPr>
              <a:t>Maintaining Discipline</a:t>
            </a:r>
          </a:p>
          <a:p>
            <a:pPr lvl="1"/>
            <a:r>
              <a:rPr lang="en-US" sz="2000" dirty="0">
                <a:cs typeface="Arial"/>
              </a:rPr>
              <a:t>Excessive Training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B66F94B-DFB1-D347-BC40-2D5D54DFCD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456777" y="2279863"/>
            <a:ext cx="5238750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646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r>
              <a:rPr lang="en-US" sz="2000" b="1" dirty="0"/>
              <a:t>Challenge faced while implementing:</a:t>
            </a:r>
          </a:p>
          <a:p>
            <a:pPr marL="457200" lvl="1" indent="0">
              <a:buNone/>
            </a:pPr>
            <a:endParaRPr lang="en-US" sz="2000" dirty="0"/>
          </a:p>
          <a:p>
            <a:pPr lvl="1"/>
            <a:r>
              <a:rPr lang="en-US" sz="2000" dirty="0"/>
              <a:t>Geographical Dispersion</a:t>
            </a:r>
            <a:endParaRPr lang="en-US" sz="2000" dirty="0">
              <a:cs typeface="Arial"/>
            </a:endParaRPr>
          </a:p>
          <a:p>
            <a:pPr lvl="1"/>
            <a:r>
              <a:rPr lang="en-US" sz="2000" dirty="0">
                <a:cs typeface="Arial"/>
              </a:rPr>
              <a:t>Diverse Work Cultures leading to misunderstanding sometimes</a:t>
            </a:r>
            <a:endParaRPr lang="en-US" sz="2000" dirty="0"/>
          </a:p>
          <a:p>
            <a:pPr lvl="1"/>
            <a:r>
              <a:rPr lang="en-US" sz="2000" dirty="0">
                <a:cs typeface="Arial"/>
              </a:rPr>
              <a:t>Role Clarity Issues</a:t>
            </a:r>
          </a:p>
          <a:p>
            <a:pPr lvl="1"/>
            <a:r>
              <a:rPr lang="en-US" sz="2000" dirty="0">
                <a:cs typeface="Arial"/>
              </a:rPr>
              <a:t>Resistance to change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B66F94B-DFB1-D347-BC40-2D5D54DFCD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456777" y="2279863"/>
            <a:ext cx="5238750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280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Learning more about Azure DevOps and the sprints formation.</a:t>
            </a:r>
          </a:p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Setting up PostgreSQL and working on that</a:t>
            </a:r>
          </a:p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</a:rPr>
              <a:t>Making more friends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Week</a:t>
            </a:r>
            <a:endParaRPr lang="en-US" dirty="0"/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Stay vigilant, trust but verify, and protect what matters.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7" name="Picture 6" descr="A hand holding a padlock">
            <a:extLst>
              <a:ext uri="{FF2B5EF4-FFF2-40B4-BE49-F238E27FC236}">
                <a16:creationId xmlns:a16="http://schemas.microsoft.com/office/drawing/2014/main" id="{16F2E17D-08F5-CD02-4659-F7307E6623B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6577314" y="2203965"/>
            <a:ext cx="4997678" cy="3331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My learning was fun this week because of following reasons:</a:t>
            </a:r>
          </a:p>
          <a:p>
            <a:pPr marL="0" indent="0">
              <a:buNone/>
            </a:pPr>
            <a:endParaRPr lang="en-US" sz="2000" dirty="0">
              <a:cs typeface="Arial"/>
            </a:endParaRPr>
          </a:p>
          <a:p>
            <a:r>
              <a:rPr lang="en-US" sz="2000" dirty="0">
                <a:cs typeface="Arial"/>
              </a:rPr>
              <a:t>Roleplay</a:t>
            </a:r>
          </a:p>
          <a:p>
            <a:r>
              <a:rPr lang="en-US" sz="2000" dirty="0">
                <a:cs typeface="Arial"/>
              </a:rPr>
              <a:t>Chart making </a:t>
            </a:r>
          </a:p>
          <a:p>
            <a:r>
              <a:rPr lang="en-US" sz="2000" dirty="0">
                <a:cs typeface="Arial"/>
              </a:rPr>
              <a:t>In class presentations</a:t>
            </a:r>
          </a:p>
          <a:p>
            <a:r>
              <a:rPr lang="en-US" sz="2000" dirty="0">
                <a:cs typeface="Arial"/>
              </a:rPr>
              <a:t>Assessments</a:t>
            </a:r>
          </a:p>
          <a:p>
            <a:r>
              <a:rPr lang="en-US" sz="2000" dirty="0">
                <a:cs typeface="Arial"/>
              </a:rPr>
              <a:t>Playing Games</a:t>
            </a:r>
          </a:p>
          <a:p>
            <a:r>
              <a:rPr lang="en-US" sz="2000" dirty="0">
                <a:cs typeface="Arial"/>
              </a:rPr>
              <a:t>Networking with colleagues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40" tIns="45720" rIns="91440" bIns="4572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512BD9-66D1-BAAE-BC64-E1A844DE55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7171153" y="2110265"/>
            <a:ext cx="38100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2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</a:pPr>
            <a:r>
              <a:rPr lang="en-US" sz="1800" dirty="0"/>
              <a:t>Professionalism: We learned the importance of consistent behavior and clear communication, though adapting these standards globally and measuring their impact was challenging.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Teamwork: Enhancing teamwork boosted innovation and productivity but bridging geographical and cultural gaps was a challenging part of the journey.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Business Analysis and Agile: Adopting Agile practices made us more flexible yet integrating them with existing processes and ensuring proper training required a major shift.</a:t>
            </a:r>
          </a:p>
          <a:p>
            <a:pPr marL="457200" indent="-457200">
              <a:lnSpc>
                <a:spcPct val="100000"/>
              </a:lnSpc>
            </a:pPr>
            <a:r>
              <a:rPr lang="en-US" sz="1800" dirty="0"/>
              <a:t>Stakeholder Management: Managing diverse stakeholder needs improved our collaboration but balancing conflicting interests and overcoming communication barriers required significant effort.</a:t>
            </a:r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0495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Key learning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 SDLC Model (Software development life cycle)</a:t>
            </a:r>
          </a:p>
          <a:p>
            <a:pPr marL="0" indent="0">
              <a:buNone/>
            </a:pPr>
            <a:r>
              <a:rPr lang="en-US" sz="2000" dirty="0"/>
              <a:t>  A framework that describes that activities                  performed at each stage of a software project.</a:t>
            </a:r>
          </a:p>
          <a:p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diagram of a process&#10;&#10;Description automatically generated">
            <a:extLst>
              <a:ext uri="{FF2B5EF4-FFF2-40B4-BE49-F238E27FC236}">
                <a16:creationId xmlns:a16="http://schemas.microsoft.com/office/drawing/2014/main" id="{B88C7D08-CED4-8219-099B-2CB3F6B167F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7453488" y="2096692"/>
            <a:ext cx="3245328" cy="32453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08A4BC-F100-C725-E512-0BA1576895EF}"/>
              </a:ext>
            </a:extLst>
          </p:cNvPr>
          <p:cNvSpPr txBox="1"/>
          <p:nvPr/>
        </p:nvSpPr>
        <p:spPr>
          <a:xfrm>
            <a:off x="2667000" y="6934096"/>
            <a:ext cx="4831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8" tooltip="https://id.wikipedia.org/wiki/SDLC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9" tooltip="https://creativecommons.org/licenses/by-sa/3.0/"/>
              </a:rPr>
              <a:t>CC BY-SA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Key learning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A Gantt chart is a visualization that helps in scheduling, managing, and monitoring specific tasks and resources in a project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It consists of a list of tasks and bars depicting each task’s progress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gantt chart with blue rectangles&#10;&#10;Description automatically generated">
            <a:extLst>
              <a:ext uri="{FF2B5EF4-FFF2-40B4-BE49-F238E27FC236}">
                <a16:creationId xmlns:a16="http://schemas.microsoft.com/office/drawing/2014/main" id="{6EF55A65-596C-FE25-8C78-2D4F8F6DB2E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649322" y="2132115"/>
            <a:ext cx="4704459" cy="3137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0495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Key learning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b="1" dirty="0"/>
              <a:t>Benefits of Scrum</a:t>
            </a:r>
          </a:p>
          <a:p>
            <a:pPr marL="0" indent="0">
              <a:buNone/>
            </a:pPr>
            <a:r>
              <a:rPr lang="en-US" sz="2000" dirty="0"/>
              <a:t> Adaptability</a:t>
            </a:r>
          </a:p>
          <a:p>
            <a:pPr marL="0" indent="0">
              <a:buNone/>
            </a:pPr>
            <a:r>
              <a:rPr lang="en-US" sz="2000" dirty="0"/>
              <a:t> Continuous Improvement</a:t>
            </a:r>
          </a:p>
          <a:p>
            <a:pPr marL="0" indent="0">
              <a:buNone/>
            </a:pPr>
            <a:r>
              <a:rPr lang="en-US" sz="2000" dirty="0"/>
              <a:t> Sustainable Pace</a:t>
            </a:r>
          </a:p>
          <a:p>
            <a:pPr marL="0" indent="0">
              <a:buNone/>
            </a:pPr>
            <a:r>
              <a:rPr lang="en-US" sz="2000" dirty="0"/>
              <a:t> Motivation</a:t>
            </a:r>
          </a:p>
          <a:p>
            <a:pPr marL="0" indent="0">
              <a:buNone/>
            </a:pPr>
            <a:r>
              <a:rPr lang="en-US" sz="2000" dirty="0"/>
              <a:t> Costumer Centric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diagram of a scrum&#10;&#10;Description automatically generated">
            <a:extLst>
              <a:ext uri="{FF2B5EF4-FFF2-40B4-BE49-F238E27FC236}">
                <a16:creationId xmlns:a16="http://schemas.microsoft.com/office/drawing/2014/main" id="{72828DCA-F054-F7FA-1C3F-AFA0753065A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571011" y="2451058"/>
            <a:ext cx="5037314" cy="259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0495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Key learning</a:t>
            </a:r>
          </a:p>
          <a:p>
            <a:pPr marL="0" indent="0">
              <a:buNone/>
            </a:pPr>
            <a:r>
              <a:rPr lang="en-US" sz="2000" dirty="0"/>
              <a:t> </a:t>
            </a:r>
            <a:r>
              <a:rPr lang="en-US" sz="2000" b="1" dirty="0">
                <a:cs typeface="Arial"/>
              </a:rPr>
              <a:t>Benefits of Teamwork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>
                <a:ea typeface="+mn-lt"/>
                <a:cs typeface="+mn-lt"/>
              </a:rPr>
              <a:t>Encourages personal growth and Increases job satisfaction</a:t>
            </a:r>
            <a:endParaRPr lang="en-US" sz="2000" b="1" dirty="0">
              <a:ea typeface="+mn-lt"/>
              <a:cs typeface="+mn-lt"/>
            </a:endParaRP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>
                <a:ea typeface="+mn-lt"/>
                <a:cs typeface="+mn-lt"/>
              </a:rPr>
              <a:t>Reduces stress Increases efficiency by sharing the workload</a:t>
            </a:r>
            <a:endParaRPr lang="en-US" sz="2000" b="1" dirty="0">
              <a:ea typeface="+mn-lt"/>
              <a:cs typeface="+mn-lt"/>
            </a:endParaRP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>
                <a:ea typeface="+mn-lt"/>
                <a:cs typeface="+mn-lt"/>
              </a:rPr>
              <a:t>Boosts accountability and morale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00486321-3A45-1A27-B9D4-86B9AAB721B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784737" y="2371503"/>
            <a:ext cx="4582829" cy="305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4176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How I feel Shell implements this learning</a:t>
            </a:r>
          </a:p>
          <a:p>
            <a:endParaRPr lang="en-US" sz="2000" dirty="0"/>
          </a:p>
          <a:p>
            <a:r>
              <a:rPr lang="en-US" sz="2000" dirty="0"/>
              <a:t>Shell uses SDLC to manage operations, automate processes, and improve digital services , integrating SDLC practices for efficient system development and maintenance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8" name="Picture 7" descr="Shell Logo, Shell Symbol, Meaning, History and Evolution">
            <a:extLst>
              <a:ext uri="{FF2B5EF4-FFF2-40B4-BE49-F238E27FC236}">
                <a16:creationId xmlns:a16="http://schemas.microsoft.com/office/drawing/2014/main" id="{501BC748-7A3B-0CB7-75C2-6F4BB33A1A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2859" y="1862658"/>
            <a:ext cx="5338119" cy="4080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04</TotalTime>
  <Words>619</Words>
  <Application>Microsoft Office PowerPoint</Application>
  <PresentationFormat>Widescreen</PresentationFormat>
  <Paragraphs>149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Arial</vt:lpstr>
      <vt:lpstr>Calibri</vt:lpstr>
      <vt:lpstr>Courier New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Learning 4 | My takeaways</vt:lpstr>
      <vt:lpstr>PowerPoint Presentation</vt:lpstr>
      <vt:lpstr>Learning 1 | Relevance for Shell</vt:lpstr>
      <vt:lpstr>Learning 2 | Relevance for Shell</vt:lpstr>
      <vt:lpstr>Learning 3 | Relevance for Shell</vt:lpstr>
      <vt:lpstr>Learning 4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Challenge faced while implementing Learning 4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20BCY10043</cp:lastModifiedBy>
  <cp:revision>500</cp:revision>
  <dcterms:created xsi:type="dcterms:W3CDTF">2022-01-18T12:35:56Z</dcterms:created>
  <dcterms:modified xsi:type="dcterms:W3CDTF">2024-09-01T17:0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